
<file path=[Content_Types].xml><?xml version="1.0" encoding="utf-8"?>
<Types xmlns="http://schemas.openxmlformats.org/package/2006/content-types">
  <Override PartName="/ppt/slideLayouts/slideLayout15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s/slide9.xml" ContentType="application/vnd.openxmlformats-officedocument.presentationml.slide+xml"/>
  <Override PartName="/ppt/notesSlides/notesSlide4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notesSlides/notesSlide9.xml" ContentType="application/vnd.openxmlformats-officedocument.presentationml.notesSlide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Masters/slideMaster2.xml" ContentType="application/vnd.openxmlformats-officedocument.presentationml.slideMaster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docProps/app.xml" ContentType="application/vnd.openxmlformats-officedocument.extended-properties+xml"/>
  <Default Extension="xml" ContentType="application/xml"/>
  <Override PartName="/ppt/slideLayouts/slideLayout16.xml" ContentType="application/vnd.openxmlformats-officedocument.presentationml.slideLayout+xml"/>
  <Override PartName="/ppt/tableStyles.xml" ContentType="application/vnd.openxmlformats-officedocument.presentationml.tableStyles+xml"/>
  <Override PartName="/ppt/notesSlides/notesSlide5.xml" ContentType="application/vnd.openxmlformats-officedocument.presentationml.notesSlide+xml"/>
  <Override PartName="/docProps/custom.xml" ContentType="application/vnd.openxmlformats-officedocument.custom-properties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s/slide6.xml" ContentType="application/vnd.openxmlformats-officedocument.presentationml.slide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theme/theme3.xml" ContentType="application/vnd.openxmlformats-officedocument.theme+xml"/>
  <Override PartName="/ppt/slideLayouts/slideLayout2.xml" ContentType="application/vnd.openxmlformats-officedocument.presentationml.slideLayout+xml"/>
  <Default Extension="png" ContentType="image/png"/>
  <Override PartName="/ppt/slideLayouts/slideLayout17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21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13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7.xml" ContentType="application/vnd.openxmlformats-officedocument.presentationml.slideLayout+xml"/>
  <Override PartName="/ppt/slides/slide3.xml" ContentType="application/vnd.openxmlformats-officedocument.presentationml.slide+xml"/>
  <Override PartName="/ppt/theme/theme4.xml" ContentType="application/vnd.openxmlformats-officedocument.theme+xml"/>
  <Override PartName="/ppt/slideLayouts/slideLayout3.xml" ContentType="application/vnd.openxmlformats-officedocument.presentationml.slideLayout+xml"/>
  <Default Extension="tiff" ContentType="image/tiff"/>
  <Override PartName="/ppt/slideLayouts/slideLayout18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8.xml" ContentType="application/vnd.openxmlformats-officedocument.presentationml.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notesSlides/notesSlide8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Layouts/slideLayout19.xml" ContentType="application/vnd.openxmlformats-officedocument.presentationml.slideLayout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firstSlideNum="0" showSpecialPlsOnTitleSld="0" removePersonalInfoOnSave="1" strictFirstAndLastChars="0" saveSubsetFonts="1">
  <p:sldMasterIdLst>
    <p:sldMasterId id="2147483648" r:id="rId1"/>
    <p:sldMasterId id="2147483720" r:id="rId2"/>
  </p:sldMasterIdLst>
  <p:notesMasterIdLst>
    <p:notesMasterId r:id="rId14"/>
  </p:notesMasterIdLst>
  <p:handoutMasterIdLst>
    <p:handoutMasterId r:id="rId15"/>
  </p:handoutMasterIdLst>
  <p:sldIdLst>
    <p:sldId id="292" r:id="rId3"/>
    <p:sldId id="339" r:id="rId4"/>
    <p:sldId id="354" r:id="rId5"/>
    <p:sldId id="355" r:id="rId6"/>
    <p:sldId id="349" r:id="rId7"/>
    <p:sldId id="351" r:id="rId8"/>
    <p:sldId id="350" r:id="rId9"/>
    <p:sldId id="348" r:id="rId10"/>
    <p:sldId id="356" r:id="rId11"/>
    <p:sldId id="352" r:id="rId12"/>
    <p:sldId id="353" r:id="rId13"/>
  </p:sldIdLst>
  <p:sldSz cx="9601200" cy="6858000"/>
  <p:notesSz cx="7053263" cy="930910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2932" userDrawn="1">
          <p15:clr>
            <a:srgbClr val="A4A3A4"/>
          </p15:clr>
        </p15:guide>
        <p15:guide id="2" pos="222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lrMru>
    <a:srgbClr val="4D4D4D"/>
    <a:srgbClr val="B2B2B2"/>
  </p:clrMru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5620"/>
    <p:restoredTop sz="82895" autoAdjust="0"/>
  </p:normalViewPr>
  <p:slideViewPr>
    <p:cSldViewPr snapToGrid="0">
      <p:cViewPr>
        <p:scale>
          <a:sx n="75" d="100"/>
          <a:sy n="75" d="100"/>
        </p:scale>
        <p:origin x="-5448" y="-2312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962"/>
    </p:cViewPr>
  </p:sorterViewPr>
  <p:notesViewPr>
    <p:cSldViewPr snapToGrid="0">
      <p:cViewPr varScale="1">
        <p:scale>
          <a:sx n="72" d="100"/>
          <a:sy n="72" d="100"/>
        </p:scale>
        <p:origin x="-1842" y="-114"/>
      </p:cViewPr>
      <p:guideLst>
        <p:guide orient="horz" pos="2932"/>
        <p:guide pos="222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3058251" cy="464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9" tIns="44260" rIns="88519" bIns="44260" numCol="1" anchor="t" anchorCtr="0" compatLnSpc="1">
            <a:prstTxWarp prst="textNoShape">
              <a:avLst/>
            </a:prstTxWarp>
          </a:bodyPr>
          <a:lstStyle>
            <a:lvl1pPr algn="l" defTabSz="885962">
              <a:defRPr sz="11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 altLang="zh-HK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5013" y="2"/>
            <a:ext cx="3058251" cy="464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9" tIns="44260" rIns="88519" bIns="44260" numCol="1" anchor="t" anchorCtr="0" compatLnSpc="1">
            <a:prstTxWarp prst="textNoShape">
              <a:avLst/>
            </a:prstTxWarp>
          </a:bodyPr>
          <a:lstStyle>
            <a:lvl1pPr algn="r" defTabSz="885962">
              <a:defRPr sz="11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 altLang="zh-HK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44262"/>
            <a:ext cx="3058251" cy="464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9" tIns="44260" rIns="88519" bIns="44260" numCol="1" anchor="b" anchorCtr="0" compatLnSpc="1">
            <a:prstTxWarp prst="textNoShape">
              <a:avLst/>
            </a:prstTxWarp>
          </a:bodyPr>
          <a:lstStyle>
            <a:lvl1pPr algn="l" defTabSz="885962">
              <a:defRPr sz="11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 altLang="zh-HK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5013" y="8844262"/>
            <a:ext cx="3058251" cy="464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519" tIns="44260" rIns="88519" bIns="44260" numCol="1" anchor="b" anchorCtr="0" compatLnSpc="1">
            <a:prstTxWarp prst="textNoShape">
              <a:avLst/>
            </a:prstTxWarp>
          </a:bodyPr>
          <a:lstStyle>
            <a:lvl1pPr algn="r" defTabSz="884888"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CC6A541-F099-4760-A8FD-25949A8D574B}" type="slidenum">
              <a:rPr lang="en-US" altLang="zh-HK"/>
              <a:pPr>
                <a:defRPr/>
              </a:pPr>
              <a:t>‹Nr.›</a:t>
            </a:fld>
            <a:endParaRPr lang="en-US"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957621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619" cy="457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073" tIns="43536" rIns="87073" bIns="43536" numCol="1" anchor="t" anchorCtr="0" compatLnSpc="1">
            <a:prstTxWarp prst="textNoShape">
              <a:avLst/>
            </a:prstTxWarp>
          </a:bodyPr>
          <a:lstStyle>
            <a:lvl1pPr algn="l" defTabSz="870527">
              <a:defRPr sz="11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 altLang="zh-HK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02666" y="0"/>
            <a:ext cx="3076619" cy="457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073" tIns="43536" rIns="87073" bIns="43536" numCol="1" anchor="t" anchorCtr="0" compatLnSpc="1">
            <a:prstTxWarp prst="textNoShape">
              <a:avLst/>
            </a:prstTxWarp>
          </a:bodyPr>
          <a:lstStyle>
            <a:lvl1pPr algn="r" defTabSz="870527">
              <a:defRPr sz="11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 altLang="zh-HK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39813" y="687388"/>
            <a:ext cx="4919662" cy="3514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2987" y="4432905"/>
            <a:ext cx="5155250" cy="4202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073" tIns="43536" rIns="87073" bIns="435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HK" noProof="0"/>
              <a:t>Click to edit Master text styles</a:t>
            </a:r>
          </a:p>
          <a:p>
            <a:pPr lvl="1"/>
            <a:r>
              <a:rPr lang="en-US" altLang="zh-HK" noProof="0"/>
              <a:t>Second level</a:t>
            </a:r>
          </a:p>
          <a:p>
            <a:pPr lvl="2"/>
            <a:r>
              <a:rPr lang="en-US" altLang="zh-HK" noProof="0"/>
              <a:t>Third level</a:t>
            </a:r>
          </a:p>
          <a:p>
            <a:pPr lvl="3"/>
            <a:r>
              <a:rPr lang="en-US" altLang="zh-HK" noProof="0"/>
              <a:t>Fourth level</a:t>
            </a:r>
          </a:p>
          <a:p>
            <a:pPr lvl="4"/>
            <a:r>
              <a:rPr lang="en-US" altLang="zh-HK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62732"/>
            <a:ext cx="3076619" cy="458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073" tIns="43536" rIns="87073" bIns="43536" numCol="1" anchor="b" anchorCtr="0" compatLnSpc="1">
            <a:prstTxWarp prst="textNoShape">
              <a:avLst/>
            </a:prstTxWarp>
          </a:bodyPr>
          <a:lstStyle>
            <a:lvl1pPr algn="l" defTabSz="870527">
              <a:defRPr sz="11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 altLang="zh-HK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02666" y="8862732"/>
            <a:ext cx="3076619" cy="458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073" tIns="43536" rIns="87073" bIns="43536" numCol="1" anchor="b" anchorCtr="0" compatLnSpc="1">
            <a:prstTxWarp prst="textNoShape">
              <a:avLst/>
            </a:prstTxWarp>
          </a:bodyPr>
          <a:lstStyle>
            <a:lvl1pPr algn="r" defTabSz="869991"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78334C9-994D-42AF-A8DF-BE9F24860692}" type="slidenum">
              <a:rPr lang="en-US" altLang="zh-HK"/>
              <a:pPr>
                <a:defRPr/>
              </a:pPr>
              <a:t>‹Nr.›</a:t>
            </a:fld>
            <a:endParaRPr lang="en-US"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691044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EBE83DAA-CFAD-491E-904F-39A34418EFD8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0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Notes Placeholder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v-SE" alt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39320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B30BBEA7-0B5B-4334-B623-62DBB2839AAC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1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3556" name="Notes Placeholder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812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4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853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5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64319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6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204009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7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606904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8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70580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9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85449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7184" indent="-26814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2591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1628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0664" indent="-214518" algn="l" defTabSz="869991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59701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88737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17774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46810" indent="-214518" defTabSz="86999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64AF499-5B56-4A0A-A763-D164858C0A06}" type="slidenum">
              <a:rPr lang="en-US" altLang="zh-HK" smtClean="0"/>
              <a:pPr algn="r" eaLnBrk="1" hangingPunct="1">
                <a:spcBef>
                  <a:spcPct val="0"/>
                </a:spcBef>
              </a:pPr>
              <a:t>10</a:t>
            </a:fld>
            <a:endParaRPr lang="en-US" altLang="en-US">
              <a:ea typeface="PMingLiU" pitchFamily="18" charset="-12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698500"/>
            <a:ext cx="4886325" cy="34909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24" y="4420592"/>
            <a:ext cx="5173617" cy="4189711"/>
          </a:xfrm>
          <a:noFill/>
          <a:ln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34" tIns="47318" rIns="94634" bIns="47318"/>
          <a:lstStyle/>
          <a:p>
            <a:pPr marL="221967" indent="-221967" eaLnBrk="1" hangingPunct="1"/>
            <a:endParaRPr lang="en-US" alt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41743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showMasterPhAnim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2"/>
          <p:cNvSpPr txBox="1">
            <a:spLocks noChangeArrowheads="1"/>
          </p:cNvSpPr>
          <p:nvPr/>
        </p:nvSpPr>
        <p:spPr bwMode="auto">
          <a:xfrm>
            <a:off x="8966200" y="6673850"/>
            <a:ext cx="18415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65313ECC-C454-4740-A4CD-CBB6E7C98DD5}" type="slidenum">
              <a:rPr lang="en-US" altLang="zh-HK" sz="900" b="0" smtClean="0">
                <a:ea typeface="PMingLiU" pitchFamily="18" charset="-120"/>
              </a:rPr>
              <a:pPr algn="r" eaLnBrk="1" hangingPunct="1">
                <a:defRPr/>
              </a:pPr>
              <a:t>‹Nr.›</a:t>
            </a:fld>
            <a:endParaRPr lang="en-US" altLang="en-US" sz="900" b="0">
              <a:ea typeface="PMingLiU" pitchFamily="18" charset="-120"/>
            </a:endParaRPr>
          </a:p>
        </p:txBody>
      </p:sp>
      <p:sp>
        <p:nvSpPr>
          <p:cNvPr id="3" name="FooterSimple"/>
          <p:cNvSpPr txBox="1">
            <a:spLocks noChangeArrowheads="1"/>
          </p:cNvSpPr>
          <p:nvPr/>
        </p:nvSpPr>
        <p:spPr bwMode="auto">
          <a:xfrm>
            <a:off x="455613" y="6700838"/>
            <a:ext cx="1481137" cy="106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en-US" sz="700" b="0">
                <a:solidFill>
                  <a:schemeClr val="bg2"/>
                </a:solidFill>
                <a:ea typeface="PMingLiU" pitchFamily="18" charset="-120"/>
              </a:rPr>
              <a:t>09061-00-03Dec09-DC-rrdc2-CHI.ppt</a:t>
            </a:r>
            <a:endParaRPr lang="en-US" altLang="en-US">
              <a:ea typeface="PMingLiU" pitchFamily="18" charset="-120"/>
            </a:endParaRPr>
          </a:p>
        </p:txBody>
      </p:sp>
      <p:sp>
        <p:nvSpPr>
          <p:cNvPr id="4" name="Rectangle 1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60950"/>
            <a:ext cx="9601200" cy="1800225"/>
          </a:xfrm>
          <a:prstGeom prst="rect">
            <a:avLst/>
          </a:prstGeom>
          <a:solidFill>
            <a:srgbClr val="177B57"/>
          </a:solidFill>
          <a:ln>
            <a:noFill/>
          </a:ln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800">
                <a:solidFill>
                  <a:srgbClr val="FFFFFF"/>
                </a:solidFill>
              </a:rPr>
              <a:t>Thomas Schmidheiny Professor </a:t>
            </a:r>
          </a:p>
          <a:p>
            <a:pPr eaLnBrk="1" hangingPunct="1">
              <a:defRPr/>
            </a:pPr>
            <a:r>
              <a:rPr lang="en-US" altLang="en-US" sz="1800">
                <a:solidFill>
                  <a:srgbClr val="FFFFFF"/>
                </a:solidFill>
              </a:rPr>
              <a:t>The Fletcher School of Law and Diplomacy,</a:t>
            </a:r>
          </a:p>
          <a:p>
            <a:pPr eaLnBrk="1" hangingPunct="1">
              <a:defRPr/>
            </a:pPr>
            <a:r>
              <a:rPr lang="en-US" altLang="en-US" sz="1800">
                <a:solidFill>
                  <a:srgbClr val="FFFFFF"/>
                </a:solidFill>
              </a:rPr>
              <a:t>and member</a:t>
            </a:r>
          </a:p>
          <a:p>
            <a:pPr eaLnBrk="1" hangingPunct="1">
              <a:defRPr/>
            </a:pPr>
            <a:r>
              <a:rPr lang="en-US" altLang="en-US" sz="1800">
                <a:solidFill>
                  <a:srgbClr val="FFFFFF"/>
                </a:solidFill>
              </a:rPr>
              <a:t>Center on Capitalism and Society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53544654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4800600"/>
            <a:ext cx="5761037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12775"/>
            <a:ext cx="5761037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367338"/>
            <a:ext cx="576103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89850304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87794570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72300" y="163513"/>
            <a:ext cx="2171700" cy="5959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3513"/>
            <a:ext cx="6362700" cy="5959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62087106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725" y="2130425"/>
            <a:ext cx="815975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9863" y="3886200"/>
            <a:ext cx="6721475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0C0E7F-C073-4E7C-ACD4-E36AA0DE5B2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752755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7C194-809E-489A-870B-F367788CF41A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75544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406900"/>
            <a:ext cx="816133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2906713"/>
            <a:ext cx="8161338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F09D2B-0446-4C5E-AF8A-A4C8DD40FD0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64681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9425" y="1600200"/>
            <a:ext cx="42449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2449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7755F6-FAF1-419C-B1DD-53E81F19D07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081705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535113"/>
            <a:ext cx="4243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174875"/>
            <a:ext cx="4243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0" y="1535113"/>
            <a:ext cx="4244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0" y="2174875"/>
            <a:ext cx="4244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C2B86F-1735-4E49-9597-0FFDC537953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64213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E8E7B0-8890-4086-AF39-02457B91D4B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16909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20FB2-C59A-4893-AD71-93A61727CBA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71734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351706"/>
      </p:ext>
    </p:extLst>
  </p:cSld>
  <p:clrMapOvr>
    <a:masterClrMapping/>
  </p:clrMapOvr>
  <p:transition spd="med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73050"/>
            <a:ext cx="315912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73050"/>
            <a:ext cx="536733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5" y="1435100"/>
            <a:ext cx="31591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EFF9F2-1B82-4B3D-8A03-C176CEEC23C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915293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188" y="4800600"/>
            <a:ext cx="5761037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188" y="612775"/>
            <a:ext cx="5761037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188" y="5367338"/>
            <a:ext cx="576103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F89FD3-4304-49EB-8EBA-F5F8689FA5C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24438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B70AD-EA4B-41FF-A448-C07C75EE9E2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074876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61188" y="274638"/>
            <a:ext cx="2160587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9425" y="274638"/>
            <a:ext cx="6329363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2443ED-6B3B-4A0E-95F1-429412CC392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95879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21807305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825" y="4406900"/>
            <a:ext cx="816133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825" y="2906713"/>
            <a:ext cx="8161338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26163760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8125"/>
            <a:ext cx="4267200" cy="4614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00" y="1508125"/>
            <a:ext cx="4267200" cy="46148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06438814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74638"/>
            <a:ext cx="864235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535113"/>
            <a:ext cx="4243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425" y="2174875"/>
            <a:ext cx="4243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6800" y="1535113"/>
            <a:ext cx="4244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6800" y="2174875"/>
            <a:ext cx="4244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66636581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97384848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17981300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273050"/>
            <a:ext cx="315912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4438" y="273050"/>
            <a:ext cx="536733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9425" y="1435100"/>
            <a:ext cx="31591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70886729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63513"/>
            <a:ext cx="86868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08125"/>
            <a:ext cx="8686800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Body text</a:t>
            </a:r>
          </a:p>
          <a:p>
            <a:pPr lvl="1"/>
            <a:r>
              <a:rPr lang="en-US" altLang="en-US"/>
              <a:t>First level</a:t>
            </a:r>
          </a:p>
          <a:p>
            <a:pPr lvl="2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  <a:p>
            <a:pPr lvl="4"/>
            <a:r>
              <a:rPr lang="en-US" altLang="en-US"/>
              <a:t>Quotation level</a:t>
            </a:r>
          </a:p>
        </p:txBody>
      </p:sp>
      <p:sp>
        <p:nvSpPr>
          <p:cNvPr id="1028" name="Text Box 12"/>
          <p:cNvSpPr txBox="1">
            <a:spLocks noChangeArrowheads="1"/>
          </p:cNvSpPr>
          <p:nvPr/>
        </p:nvSpPr>
        <p:spPr bwMode="auto">
          <a:xfrm>
            <a:off x="8966200" y="6673850"/>
            <a:ext cx="18415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AE16ECFB-AD7D-482D-B79B-C30020A608C5}" type="slidenum">
              <a:rPr lang="en-US" altLang="zh-HK" sz="900" b="0" smtClean="0">
                <a:ea typeface="PMingLiU" pitchFamily="18" charset="-120"/>
              </a:rPr>
              <a:pPr algn="r" eaLnBrk="1" hangingPunct="1">
                <a:defRPr/>
              </a:pPr>
              <a:t>‹Nr.›</a:t>
            </a:fld>
            <a:endParaRPr lang="en-US" altLang="en-US" sz="900" b="0">
              <a:ea typeface="PMingLiU" pitchFamily="18" charset="-120"/>
            </a:endParaRPr>
          </a:p>
        </p:txBody>
      </p:sp>
      <p:sp>
        <p:nvSpPr>
          <p:cNvPr id="1029" name="Line 78"/>
          <p:cNvSpPr>
            <a:spLocks noChangeShapeType="1"/>
          </p:cNvSpPr>
          <p:nvPr/>
        </p:nvSpPr>
        <p:spPr bwMode="auto">
          <a:xfrm flipH="1">
            <a:off x="0" y="1003300"/>
            <a:ext cx="96012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1" r:id="rId1"/>
    <p:sldLayoutId id="2147484198" r:id="rId2"/>
    <p:sldLayoutId id="2147484199" r:id="rId3"/>
    <p:sldLayoutId id="2147484200" r:id="rId4"/>
    <p:sldLayoutId id="2147484201" r:id="rId5"/>
    <p:sldLayoutId id="2147484202" r:id="rId6"/>
    <p:sldLayoutId id="2147484203" r:id="rId7"/>
    <p:sldLayoutId id="2147484204" r:id="rId8"/>
    <p:sldLayoutId id="2147484205" r:id="rId9"/>
    <p:sldLayoutId id="2147484206" r:id="rId10"/>
    <p:sldLayoutId id="2147484207" r:id="rId11"/>
    <p:sldLayoutId id="2147484208" r:id="rId12"/>
  </p:sldLayoutIdLst>
  <p:transition spd="med">
    <p:wipe dir="r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>
          <a:solidFill>
            <a:schemeClr val="tx1"/>
          </a:solidFill>
          <a:latin typeface="+mn-lt"/>
          <a:ea typeface="Arial" charset="0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" charset="0"/>
          <a:cs typeface="+mn-cs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79425" y="274638"/>
            <a:ext cx="86423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79425" y="1600200"/>
            <a:ext cx="864235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9425" y="6356350"/>
            <a:ext cx="22415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775" y="6356350"/>
            <a:ext cx="30416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© Amar Bhidé based on A Call for Judgment Oxford University Press (201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0225" y="6356350"/>
            <a:ext cx="22415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6881AEA-9597-4562-8AD5-F90448967D5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  <p:sldLayoutId id="2147484214" r:id="rId5"/>
    <p:sldLayoutId id="2147484215" r:id="rId6"/>
    <p:sldLayoutId id="2147484216" r:id="rId7"/>
    <p:sldLayoutId id="2147484217" r:id="rId8"/>
    <p:sldLayoutId id="2147484218" r:id="rId9"/>
    <p:sldLayoutId id="2147484219" r:id="rId10"/>
    <p:sldLayoutId id="2147484220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hyperlink" Target="http://www.bhide.net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jpeg"/><Relationship Id="rId5" Type="http://schemas.openxmlformats.org/officeDocument/2006/relationships/image" Target="../media/image4.jpeg"/><Relationship Id="rId6" Type="http://schemas.openxmlformats.org/officeDocument/2006/relationships/image" Target="../media/image5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openxmlformats.org/officeDocument/2006/relationships/image" Target="../media/image8.jpeg"/><Relationship Id="rId5" Type="http://schemas.openxmlformats.org/officeDocument/2006/relationships/image" Target="../media/image9.tiff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8"/>
          <p:cNvSpPr>
            <a:spLocks noChangeArrowheads="1"/>
          </p:cNvSpPr>
          <p:nvPr/>
        </p:nvSpPr>
        <p:spPr bwMode="auto">
          <a:xfrm>
            <a:off x="561975" y="871538"/>
            <a:ext cx="2860675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2800" b="0">
                <a:solidFill>
                  <a:srgbClr val="115C41"/>
                </a:solidFill>
                <a:ea typeface="PMingLiU" pitchFamily="18" charset="-120"/>
              </a:rPr>
              <a:t>Tufts University</a:t>
            </a:r>
            <a:endParaRPr lang="en-US" altLang="en-US" sz="2800">
              <a:solidFill>
                <a:srgbClr val="115C41"/>
              </a:solidFill>
              <a:ea typeface="PMingLiU" pitchFamily="18" charset="-120"/>
            </a:endParaRPr>
          </a:p>
        </p:txBody>
      </p:sp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604838" y="1735138"/>
            <a:ext cx="8542337" cy="196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 eaLnBrk="0" hangingPunct="0">
              <a:spcBef>
                <a:spcPct val="20000"/>
              </a:spcBef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3000" dirty="0">
                <a:solidFill>
                  <a:srgbClr val="4D4D4D"/>
                </a:solidFill>
                <a:ea typeface="PMingLiU" pitchFamily="18" charset="-120"/>
              </a:rPr>
              <a:t>(How) Can we do better?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3000" dirty="0">
                <a:solidFill>
                  <a:srgbClr val="4D4D4D"/>
                </a:solidFill>
                <a:ea typeface="PMingLiU" pitchFamily="18" charset="-120"/>
              </a:rPr>
              <a:t>Lessons from HIV-Aids</a:t>
            </a:r>
            <a:br>
              <a:rPr lang="en-US" altLang="en-US" sz="3000" dirty="0">
                <a:solidFill>
                  <a:srgbClr val="4D4D4D"/>
                </a:solidFill>
                <a:ea typeface="PMingLiU" pitchFamily="18" charset="-120"/>
              </a:rPr>
            </a:br>
            <a:endParaRPr lang="en-US" altLang="en-US" sz="3000" dirty="0">
              <a:solidFill>
                <a:srgbClr val="4D4D4D"/>
              </a:solidFill>
              <a:ea typeface="PMingLiU" pitchFamily="18" charset="-12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2000" b="0" dirty="0">
                <a:solidFill>
                  <a:srgbClr val="4D4D4D"/>
                </a:solidFill>
                <a:ea typeface="PMingLiU" pitchFamily="18" charset="-120"/>
              </a:rPr>
              <a:t>Amar Bhidé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 sz="2000" b="0" dirty="0">
                <a:solidFill>
                  <a:srgbClr val="4D4D4D"/>
                </a:solidFill>
                <a:ea typeface="PMingLiU" pitchFamily="18" charset="-120"/>
                <a:hlinkClick r:id="rId3"/>
              </a:rPr>
              <a:t>www.bhide.net</a:t>
            </a:r>
            <a:endParaRPr lang="en-US" altLang="en-US" sz="2000" b="0" dirty="0">
              <a:solidFill>
                <a:srgbClr val="4D4D4D"/>
              </a:solidFill>
              <a:ea typeface="PMingLiU" pitchFamily="18" charset="-120"/>
            </a:endParaRPr>
          </a:p>
        </p:txBody>
      </p:sp>
      <p:sp>
        <p:nvSpPr>
          <p:cNvPr id="5124" name="Rectangle 3"/>
          <p:cNvSpPr>
            <a:spLocks noChangeArrowheads="1"/>
          </p:cNvSpPr>
          <p:nvPr/>
        </p:nvSpPr>
        <p:spPr bwMode="auto">
          <a:xfrm>
            <a:off x="619125" y="4418013"/>
            <a:ext cx="8542338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 eaLnBrk="0" hangingPunct="0">
              <a:spcBef>
                <a:spcPct val="20000"/>
              </a:spcBef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2000" b="0" dirty="0">
                <a:solidFill>
                  <a:srgbClr val="4D4D4D"/>
                </a:solidFill>
                <a:ea typeface="PMingLiU" pitchFamily="18" charset="-120"/>
              </a:rPr>
              <a:t>August 2016</a:t>
            </a:r>
          </a:p>
        </p:txBody>
      </p:sp>
    </p:spTree>
  </p:cSld>
  <p:clrMapOvr>
    <a:masterClrMapping/>
  </p:clrMapOvr>
  <p:transition spd="med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Why is medical innovation usually not multiplayer 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630"/>
            <a:ext cx="8686800" cy="5425234"/>
          </a:xfrm>
        </p:spPr>
        <p:txBody>
          <a:bodyPr/>
          <a:lstStyle/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Age-old restrictions on who can practice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Practice limited to accredited, university trained physicians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Trade-offs from collectivized canon: cohesion and consistency vs. closed mindedness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Exclusion of “outsiders” from innovation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Contrast with other fields </a:t>
            </a:r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Physician-patient relationship 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Artisanal 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Compliance vs venturesome consumption </a:t>
            </a:r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Church and State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Traditional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FDA</a:t>
            </a:r>
          </a:p>
          <a:p>
            <a:pPr marL="0" indent="0" eaLnBrk="1" hangingPunct="1">
              <a:lnSpc>
                <a:spcPct val="150000"/>
              </a:lnSpc>
            </a:pPr>
            <a:endParaRPr lang="en-US" altLang="en-US" sz="1800" dirty="0"/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 </a:t>
            </a:r>
          </a:p>
          <a:p>
            <a:pPr lvl="1" eaLnBrk="1" hangingPunct="1">
              <a:lnSpc>
                <a:spcPct val="150000"/>
              </a:lnSpc>
            </a:pPr>
            <a:endParaRPr lang="en-US" altLang="en-US" sz="18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0409033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How can medical innovation be made more multiplayer?  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630"/>
            <a:ext cx="8686800" cy="5425234"/>
          </a:xfrm>
        </p:spPr>
        <p:txBody>
          <a:bodyPr/>
          <a:lstStyle/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Some changes but arguably far from sufficient. </a:t>
            </a:r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Possible reforms? 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Relaxing </a:t>
            </a:r>
            <a:r>
              <a:rPr lang="en-US" altLang="en-US" sz="1800" dirty="0" err="1"/>
              <a:t>credentialism</a:t>
            </a:r>
            <a:r>
              <a:rPr lang="en-US" altLang="en-US" sz="1800" dirty="0"/>
              <a:t> 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Limit regulators to safety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Anti-trust enforcement against hospitals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New IP regime to promote continuous innovation </a:t>
            </a:r>
          </a:p>
          <a:p>
            <a:pPr marL="0" indent="0" eaLnBrk="1" hangingPunct="1">
              <a:lnSpc>
                <a:spcPct val="150000"/>
              </a:lnSpc>
            </a:pPr>
            <a:endParaRPr lang="en-US" altLang="en-US" sz="1800" dirty="0"/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 </a:t>
            </a:r>
          </a:p>
          <a:p>
            <a:pPr lvl="1" eaLnBrk="1" hangingPunct="1">
              <a:lnSpc>
                <a:spcPct val="150000"/>
              </a:lnSpc>
            </a:pPr>
            <a:endParaRPr lang="en-US" altLang="en-US" sz="18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0414389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Today’s talk: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85750" indent="-285750" eaLnBrk="1" hangingPunct="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en-US" sz="1800" dirty="0"/>
              <a:t>Nature and role of “massively multiplayer” innovation</a:t>
            </a:r>
          </a:p>
          <a:p>
            <a:pPr marL="285750" indent="-285750" eaLnBrk="1" hangingPunct="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en-US" sz="1800" dirty="0"/>
              <a:t>HIV-Aids as a partial -- and exceptional – case in medicine</a:t>
            </a:r>
          </a:p>
          <a:p>
            <a:pPr marL="285750" indent="-285750" eaLnBrk="1" hangingPunct="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en-US" sz="1800" dirty="0"/>
              <a:t>Barriers to multi-player medical innovation</a:t>
            </a:r>
          </a:p>
          <a:p>
            <a:pPr marL="285750" indent="-285750" eaLnBrk="1" hangingPunct="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altLang="en-US" sz="1800" dirty="0"/>
              <a:t>What might be done?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Product Detai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4435" y="1227456"/>
            <a:ext cx="2206100" cy="220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s://images-na.ssl-images-amazon.com/images/I/51IiUC14GrL._SX362_BO1,204,203,200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1774" y="1227456"/>
            <a:ext cx="1713392" cy="2348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images-na.ssl-images-amazon.com/images/I/51j0h4nDvWL._SX333_BO1,204,203,200_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8961" y="3303147"/>
            <a:ext cx="1540443" cy="2294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images-na.ssl-images-amazon.com/images/I/41np4D586OL._SX331_BO1,204,203,200_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40512" y="2108505"/>
            <a:ext cx="1315436" cy="1971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21"/>
          <p:cNvGrpSpPr/>
          <p:nvPr/>
        </p:nvGrpSpPr>
        <p:grpSpPr>
          <a:xfrm>
            <a:off x="3157435" y="4128633"/>
            <a:ext cx="4562000" cy="2375534"/>
            <a:chOff x="3157435" y="4128633"/>
            <a:chExt cx="4562000" cy="2375534"/>
          </a:xfrm>
        </p:grpSpPr>
        <p:pic>
          <p:nvPicPr>
            <p:cNvPr id="1034" name="Picture 10" descr="https://images-na.ssl-images-amazon.com/images/I/51MGnFpTtqL._SX328_BO1,204,203,200_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0232" y="5220070"/>
              <a:ext cx="849203" cy="1284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Freeform: Shape 20"/>
            <p:cNvSpPr/>
            <p:nvPr/>
          </p:nvSpPr>
          <p:spPr bwMode="auto">
            <a:xfrm rot="2100170">
              <a:off x="3157435" y="4128633"/>
              <a:ext cx="3588939" cy="1855168"/>
            </a:xfrm>
            <a:custGeom>
              <a:avLst/>
              <a:gdLst>
                <a:gd name="connsiteX0" fmla="*/ 0 w 2958102"/>
                <a:gd name="connsiteY0" fmla="*/ 1739900 h 1739900"/>
                <a:gd name="connsiteX1" fmla="*/ 2956560 w 2958102"/>
                <a:gd name="connsiteY1" fmla="*/ 612140 h 1739900"/>
                <a:gd name="connsiteX2" fmla="*/ 441960 w 2958102"/>
                <a:gd name="connsiteY2" fmla="*/ 0 h 1739900"/>
                <a:gd name="connsiteX3" fmla="*/ 441960 w 2958102"/>
                <a:gd name="connsiteY3" fmla="*/ 0 h 1739900"/>
                <a:gd name="connsiteX4" fmla="*/ 441960 w 2958102"/>
                <a:gd name="connsiteY4" fmla="*/ 0 h 1739900"/>
                <a:gd name="connsiteX5" fmla="*/ 441960 w 2958102"/>
                <a:gd name="connsiteY5" fmla="*/ 0 h 1739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58102" h="1739900">
                  <a:moveTo>
                    <a:pt x="0" y="1739900"/>
                  </a:moveTo>
                  <a:cubicBezTo>
                    <a:pt x="1441450" y="1321011"/>
                    <a:pt x="2882900" y="902123"/>
                    <a:pt x="2956560" y="612140"/>
                  </a:cubicBezTo>
                  <a:cubicBezTo>
                    <a:pt x="3030220" y="322157"/>
                    <a:pt x="441960" y="0"/>
                    <a:pt x="441960" y="0"/>
                  </a:cubicBezTo>
                  <a:lnTo>
                    <a:pt x="441960" y="0"/>
                  </a:lnTo>
                  <a:lnTo>
                    <a:pt x="441960" y="0"/>
                  </a:lnTo>
                  <a:lnTo>
                    <a:pt x="441960" y="0"/>
                  </a:lnTo>
                </a:path>
              </a:pathLst>
            </a:cu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2260004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Product Detail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1640" y="1879601"/>
            <a:ext cx="2574647" cy="257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Product Detail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32000" y="1879601"/>
            <a:ext cx="2722879" cy="2506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s://images-na.ssl-images-amazon.com/images/I/512etVKxQTL._SX331_BO1,204,203,200_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2589" y="1153161"/>
            <a:ext cx="1837412" cy="2753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6711146" y="3596640"/>
            <a:ext cx="2294781" cy="258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9761659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Massively multiplayer innovation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630"/>
            <a:ext cx="8686800" cy="5364944"/>
          </a:xfrm>
        </p:spPr>
        <p:txBody>
          <a:bodyPr/>
          <a:lstStyle/>
          <a:p>
            <a:pPr marL="0" indent="0" eaLnBrk="1" hangingPunct="1">
              <a:lnSpc>
                <a:spcPct val="150000"/>
              </a:lnSpc>
            </a:pPr>
            <a:r>
              <a:rPr lang="en-US" altLang="en-US" sz="1800" i="1" dirty="0"/>
              <a:t>Contra </a:t>
            </a:r>
            <a:r>
              <a:rPr lang="en-US" altLang="en-US" sz="1800" dirty="0"/>
              <a:t>Cowan, Gordon, Phelps, inclusivity has improved innovation</a:t>
            </a:r>
            <a:endParaRPr lang="en-US" altLang="en-US" sz="1800" i="1" dirty="0"/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Much more broad-based than during the 1</a:t>
            </a:r>
            <a:r>
              <a:rPr lang="en-US" altLang="en-US" sz="1800" baseline="30000" dirty="0"/>
              <a:t>st</a:t>
            </a:r>
            <a:r>
              <a:rPr lang="en-US" altLang="en-US" sz="1800" dirty="0"/>
              <a:t> and 2</a:t>
            </a:r>
            <a:r>
              <a:rPr lang="en-US" altLang="en-US" sz="1800" baseline="30000" dirty="0"/>
              <a:t>nd</a:t>
            </a:r>
            <a:r>
              <a:rPr lang="en-US" altLang="en-US" sz="1800" dirty="0"/>
              <a:t> industrial revolutions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Highly accretive and (</a:t>
            </a:r>
            <a:r>
              <a:rPr lang="en-US" altLang="en-US" sz="1800" i="1" dirty="0"/>
              <a:t>contra</a:t>
            </a:r>
            <a:r>
              <a:rPr lang="en-US" altLang="en-US" sz="1800" dirty="0"/>
              <a:t> </a:t>
            </a:r>
            <a:r>
              <a:rPr lang="en-US" altLang="en-US" sz="1800" dirty="0" err="1"/>
              <a:t>Mazzucato</a:t>
            </a:r>
            <a:r>
              <a:rPr lang="en-US" altLang="en-US" sz="1800" dirty="0"/>
              <a:t>) decentralized and bottoms up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Faster diffusion of ideas makes effective use critical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Effective use a function of venturesome consumption </a:t>
            </a:r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Very poorly measured 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Total Factor Productivity is an incorrigibly implausible proxy  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Assumes away the very features that make the economy dynamic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Fails the smell test</a:t>
            </a:r>
          </a:p>
          <a:p>
            <a:pPr lvl="1" eaLnBrk="1" hangingPunct="1">
              <a:lnSpc>
                <a:spcPct val="150000"/>
              </a:lnSpc>
            </a:pPr>
            <a:r>
              <a:rPr lang="en-US" altLang="en-US" sz="1800" dirty="0"/>
              <a:t>Chronic inaccuracy does not exculpate </a:t>
            </a:r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Some reasons for concern</a:t>
            </a:r>
          </a:p>
          <a:p>
            <a:pPr lvl="1" eaLnBrk="1" hangingPunct="1">
              <a:lnSpc>
                <a:spcPct val="150000"/>
              </a:lnSpc>
            </a:pPr>
            <a:endParaRPr lang="en-US" altLang="en-US" sz="18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5832335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Rolling back HIV-Aids: a multiplayer succes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lnSpc>
                <a:spcPct val="200000"/>
              </a:lnSpc>
            </a:pPr>
            <a:r>
              <a:rPr lang="en-US" altLang="en-US" sz="1800" dirty="0"/>
              <a:t>Tale of our times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Apes to humans in the 1920s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Outbreak in the early 1980s, pandemic by the mid-1990s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Dramatic drop in death rates, infections level off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Now a chronic condition, not a death sentence  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5980845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Rise and Fall</a:t>
            </a:r>
          </a:p>
        </p:txBody>
      </p:sp>
      <p:pic>
        <p:nvPicPr>
          <p:cNvPr id="5" name="Picture 4" descr="http://www.cdc.gov/nchs/images/hus/HUS13_fig24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2560" y="1496377"/>
            <a:ext cx="4389120" cy="3273743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4826000" y="1976120"/>
            <a:ext cx="3566160" cy="245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0894808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Correspondence with multi-player pattern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lnSpc>
                <a:spcPct val="200000"/>
              </a:lnSpc>
            </a:pPr>
            <a:r>
              <a:rPr lang="en-US" altLang="en-US" sz="1800" dirty="0"/>
              <a:t>Multifarious cast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Evident from the outset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Interconnected advances in transmission control, testing and treatment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Accretive: incremental advances + novel discoveries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International collaboration and rivalry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Highly venturesome “consumer/activists” </a:t>
            </a:r>
          </a:p>
          <a:p>
            <a:pPr lvl="1" eaLnBrk="1" hangingPunct="1">
              <a:lnSpc>
                <a:spcPct val="200000"/>
              </a:lnSpc>
            </a:pPr>
            <a:r>
              <a:rPr lang="en-US" altLang="en-US" sz="1800" dirty="0"/>
              <a:t>Value where most used (but poorly captured in national accounts)  </a:t>
            </a:r>
          </a:p>
          <a:p>
            <a:pPr marL="0" indent="0" eaLnBrk="1" hangingPunct="1">
              <a:lnSpc>
                <a:spcPct val="150000"/>
              </a:lnSpc>
            </a:pPr>
            <a:r>
              <a:rPr lang="en-US" altLang="en-US" sz="1800" dirty="0"/>
              <a:t>An important difference – no improvised entrepreneurs  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6458614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2800" dirty="0"/>
              <a:t>Multi-player pattern</a:t>
            </a: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817880" y="1844992"/>
            <a:ext cx="7802880" cy="4225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9324357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vEGksz.vEmxHeRh91uGOQ"/>
</p:tagLst>
</file>

<file path=ppt/theme/theme1.xml><?xml version="1.0" encoding="utf-8"?>
<a:theme xmlns:a="http://schemas.openxmlformats.org/drawingml/2006/main" name="Blank">
  <a:themeElements>
    <a:clrScheme name="Custom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000000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2</Words>
  <Application>Microsoft Macintosh PowerPoint</Application>
  <PresentationFormat>Anpassad</PresentationFormat>
  <Paragraphs>72</Paragraphs>
  <Slides>11</Slides>
  <Notes>9</Notes>
  <HiddenSlides>0</HiddenSlides>
  <MMClips>0</MMClips>
  <ScaleCrop>false</ScaleCrop>
  <HeadingPairs>
    <vt:vector size="4" baseType="variant">
      <vt:variant>
        <vt:lpstr>Formgivningsmall</vt:lpstr>
      </vt:variant>
      <vt:variant>
        <vt:i4>2</vt:i4>
      </vt:variant>
      <vt:variant>
        <vt:lpstr>Bildrubriker</vt:lpstr>
      </vt:variant>
      <vt:variant>
        <vt:i4>11</vt:i4>
      </vt:variant>
    </vt:vector>
  </HeadingPairs>
  <TitlesOfParts>
    <vt:vector size="13" baseType="lpstr">
      <vt:lpstr>Blank</vt:lpstr>
      <vt:lpstr>Custom Design</vt:lpstr>
      <vt:lpstr>Bild 0</vt:lpstr>
      <vt:lpstr>Today’s talk:</vt:lpstr>
      <vt:lpstr>Bild 2</vt:lpstr>
      <vt:lpstr>Bild 3</vt:lpstr>
      <vt:lpstr>Massively multiplayer innovation</vt:lpstr>
      <vt:lpstr>Rolling back HIV-Aids: a multiplayer success</vt:lpstr>
      <vt:lpstr>Rise and Fall</vt:lpstr>
      <vt:lpstr>Correspondence with multi-player pattern</vt:lpstr>
      <vt:lpstr>Multi-player pattern</vt:lpstr>
      <vt:lpstr>Why is medical innovation usually not multiplayer </vt:lpstr>
      <vt:lpstr>How can medical innovation be made more multiplayer? 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/>
  <dc:description>Letter Blank templ v3.pot</dc:description>
  <cp:lastModifiedBy/>
  <cp:revision>26</cp:revision>
  <dcterms:created xsi:type="dcterms:W3CDTF">2016-08-29T09:15:24Z</dcterms:created>
  <dcterms:modified xsi:type="dcterms:W3CDTF">2016-08-29T09:1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</Properties>
</file>